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0"/>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51B147E7-B7DF-4A7A-8D18-64C0EFCF06D8}">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notesMaster" Target="notesMasters/notesMaster1.xml"/><Relationship Id="rId31" Type="http://schemas.openxmlformats.org/officeDocument/2006/relationships/presProps" Target="presProps.xml"/><Relationship Id="rId32" Type="http://schemas.openxmlformats.org/officeDocument/2006/relationships/viewProps" Target="viewProps.xml"/><Relationship Id="rId33" Type="http://schemas.openxmlformats.org/officeDocument/2006/relationships/theme" Target="theme/theme1.xml"/><Relationship Id="rId34" Type="http://schemas.openxmlformats.org/officeDocument/2006/relationships/tableStyles" Target="tableStyles.xml"/><Relationship Id="rId35" Type="http://schemas.microsoft.com/office/2015/10/relationships/revisionInfo" Target="revisionInfo.xml"/><Relationship Id="rId36"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451531687475279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090875868009677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0908758680096771</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433177439474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1968898780611883e-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7.148203296867518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7.148203296867518e-0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433177439474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0874048582137170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41454544106134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414545441061343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451531687475279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11243143706630065</c:v>
                </c:pt>
                <c:pt idx="3">
                  <c:v>0.2260389643669736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12043020974010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461470956453709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461470956453709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71709021879724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11243143706630065</c:v>
                </c:pt>
                <c:pt idx="3">
                  <c:v>0.2260389643669736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12043020974010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67055189224631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670551892246316</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1.1364230656370928e-08</c:v>
                </c:pt>
                <c:pt idx="2">
                  <c:v>0.003008102205866299</c:v>
                </c:pt>
                <c:pt idx="3">
                  <c:v>0.99699170009940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152299089699222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951882130535129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65436270880462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265436270880462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1.1364230656370928e-08</c:v>
                </c:pt>
                <c:pt idx="2">
                  <c:v>0.003008102205866299</c:v>
                </c:pt>
                <c:pt idx="3">
                  <c:v>0.99699170009940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06874941686487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668671816051930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6686718160519306</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951882130535129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1.1364230656370928e-08</c:v>
                </c:pt>
                <c:pt idx="2">
                  <c:v>0.003008102205866299</c:v>
                </c:pt>
                <c:pt idx="3">
                  <c:v>0.99699170009940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4664446774705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797359287495413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797359287495413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1.1364230656370928e-08</c:v>
                </c:pt>
                <c:pt idx="2">
                  <c:v>0.003008102205866299</c:v>
                </c:pt>
                <c:pt idx="3">
                  <c:v>0.99699170009940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152299089699222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40869400266192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40869400266192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71709021879724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1.1364230656370928e-08</c:v>
                </c:pt>
                <c:pt idx="2">
                  <c:v>0.003008102205866299</c:v>
                </c:pt>
                <c:pt idx="3">
                  <c:v>0.99699170009940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06874941686487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822353929807463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822353929807463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1.1364230656370928e-08</c:v>
                </c:pt>
                <c:pt idx="2">
                  <c:v>0.003008102205866299</c:v>
                </c:pt>
                <c:pt idx="3">
                  <c:v>0.99699170009940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4664446774705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862386632120410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8623866321204106</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1.1364230656370928e-08</c:v>
                </c:pt>
                <c:pt idx="2">
                  <c:v>0.003008102205866299</c:v>
                </c:pt>
                <c:pt idx="3">
                  <c:v>0.94891354348390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841718719271108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748429494341261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748429494341261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1.1364230656370928e-08</c:v>
                </c:pt>
                <c:pt idx="2">
                  <c:v>0.003008102205866299</c:v>
                </c:pt>
                <c:pt idx="3">
                  <c:v>0.94891354348390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2374093859863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923364413421214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9233644134212146</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
                </c:pt>
                <c:pt idx="2">
                  <c:v/>
                </c:pt>
                <c:pt idx="3">
                  <c:v>0.116107161449636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1.1364230656370928e-08</c:v>
                </c:pt>
                <c:pt idx="2">
                  <c:v>0.003008102205866299</c:v>
                </c:pt>
                <c:pt idx="3">
                  <c:v>0.94891354348390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5910159480123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99156218664544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99156218664544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64302626851865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1.1364230656370928e-08</c:v>
                </c:pt>
                <c:pt idx="2">
                  <c:v>0.003008102205866299</c:v>
                </c:pt>
                <c:pt idx="3">
                  <c:v>0.94891354348390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841718719271108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04130127492609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04130127492609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1.1364230656370928e-08</c:v>
                </c:pt>
                <c:pt idx="2">
                  <c:v>0.003008102205866299</c:v>
                </c:pt>
                <c:pt idx="3">
                  <c:v>0.94891354348390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2374093859863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96083072977285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403720563311543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4037205633115434</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1.1364230656370928e-08</c:v>
                </c:pt>
                <c:pt idx="2">
                  <c:v>0.003008102205866299</c:v>
                </c:pt>
                <c:pt idx="3">
                  <c:v>0.948913543483900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5910159480123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023279279617345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023279279617345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96083072977285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
                </c:pt>
                <c:pt idx="2">
                  <c:v/>
                </c:pt>
                <c:pt idx="3">
                  <c:v>0.116107161449636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01639091008389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1212500560183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15225919026812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152259190268123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
                </c:pt>
                <c:pt idx="2">
                  <c:v/>
                </c:pt>
                <c:pt idx="3">
                  <c:v>0.116107161449636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64302626851865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319490077683078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319490077683078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12125005601838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863304988752139e-07</c:v>
                </c:pt>
                <c:pt idx="1">
                  <c:v/>
                </c:pt>
                <c:pt idx="2">
                  <c:v/>
                </c:pt>
                <c:pt idx="3">
                  <c:v>0.116107161449636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01639091008389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226517664242014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226517664242014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433177439474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04568467024730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47426625949237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47426625949237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433177439474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0874048582137170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0844903887319036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08449038873190364</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433177439474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04568467024730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5218122713414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Aperitif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89348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76132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71688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alad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914287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alad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439000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280774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27222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37866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75994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205668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54092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Aperitif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649378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873663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51860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315350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508201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550873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885124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6684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461667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563550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014501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154932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06669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88254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2875</Words>
  <Application>Microsoft Office PowerPoint</Application>
  <PresentationFormat>On-screen Show (16:9)</PresentationFormat>
  <Paragraphs>1075</Paragraphs>
  <Slides>25</Slides>
  <Notes>2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